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</p:sldMasterIdLst>
  <p:notesMasterIdLst>
    <p:notesMasterId r:id="rId7"/>
  </p:notesMasterIdLst>
  <p:sldIdLst>
    <p:sldId id="2147471356" r:id="rId5"/>
    <p:sldId id="2147471361" r:id="rId6"/>
  </p:sldIdLst>
  <p:sldSz cx="12192000" cy="6858000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C3D142B0-1626-A402-9F44-F39EBFB49FBD}" name="Eshan Vasudeva" initials="EV" userId="S::eshan.vasudeva@populationhp.com::8fd6d2dc-4408-45c9-b9c9-302955e1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52"/>
    <a:srgbClr val="DE5900"/>
    <a:srgbClr val="DE5A00"/>
    <a:srgbClr val="003A28"/>
    <a:srgbClr val="FFCEB3"/>
    <a:srgbClr val="FFE1D1"/>
    <a:srgbClr val="E06258"/>
    <a:srgbClr val="D5FFF2"/>
    <a:srgbClr val="A24200"/>
    <a:srgbClr val="FF5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CB647C-3B8A-A84A-A7B4-CE21D55EB25A}" v="4" dt="2023-11-29T16:53:57.8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99" autoAdjust="0"/>
    <p:restoredTop sz="94626"/>
  </p:normalViewPr>
  <p:slideViewPr>
    <p:cSldViewPr snapToGrid="0">
      <p:cViewPr varScale="1">
        <p:scale>
          <a:sx n="121" d="100"/>
          <a:sy n="121" d="100"/>
        </p:scale>
        <p:origin x="864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8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uart Lopez" userId="e8c0151a-f337-42b8-9c69-49b3be5c85a6" providerId="ADAL" clId="{034BFD96-F7AB-B848-88A8-57C79A1FA85A}"/>
    <pc:docChg chg="delSld modSld">
      <pc:chgData name="Stuart Lopez" userId="e8c0151a-f337-42b8-9c69-49b3be5c85a6" providerId="ADAL" clId="{034BFD96-F7AB-B848-88A8-57C79A1FA85A}" dt="2023-08-11T18:20:12.565" v="40" actId="20577"/>
      <pc:docMkLst>
        <pc:docMk/>
      </pc:docMkLst>
      <pc:sldChg chg="del">
        <pc:chgData name="Stuart Lopez" userId="e8c0151a-f337-42b8-9c69-49b3be5c85a6" providerId="ADAL" clId="{034BFD96-F7AB-B848-88A8-57C79A1FA85A}" dt="2023-08-11T18:19:41.946" v="2" actId="2696"/>
        <pc:sldMkLst>
          <pc:docMk/>
          <pc:sldMk cId="0" sldId="645"/>
        </pc:sldMkLst>
      </pc:sldChg>
      <pc:sldChg chg="del">
        <pc:chgData name="Stuart Lopez" userId="e8c0151a-f337-42b8-9c69-49b3be5c85a6" providerId="ADAL" clId="{034BFD96-F7AB-B848-88A8-57C79A1FA85A}" dt="2023-08-11T18:19:41.957" v="4" actId="2696"/>
        <pc:sldMkLst>
          <pc:docMk/>
          <pc:sldMk cId="0" sldId="646"/>
        </pc:sldMkLst>
      </pc:sldChg>
      <pc:sldChg chg="del">
        <pc:chgData name="Stuart Lopez" userId="e8c0151a-f337-42b8-9c69-49b3be5c85a6" providerId="ADAL" clId="{034BFD96-F7AB-B848-88A8-57C79A1FA85A}" dt="2023-08-11T18:19:41.956" v="3" actId="2696"/>
        <pc:sldMkLst>
          <pc:docMk/>
          <pc:sldMk cId="607559047" sldId="647"/>
        </pc:sldMkLst>
      </pc:sldChg>
      <pc:sldChg chg="modSp mod">
        <pc:chgData name="Stuart Lopez" userId="e8c0151a-f337-42b8-9c69-49b3be5c85a6" providerId="ADAL" clId="{034BFD96-F7AB-B848-88A8-57C79A1FA85A}" dt="2023-08-11T18:19:30.119" v="0" actId="20577"/>
        <pc:sldMkLst>
          <pc:docMk/>
          <pc:sldMk cId="55991849" sldId="2147471356"/>
        </pc:sldMkLst>
        <pc:spChg chg="mod">
          <ac:chgData name="Stuart Lopez" userId="e8c0151a-f337-42b8-9c69-49b3be5c85a6" providerId="ADAL" clId="{034BFD96-F7AB-B848-88A8-57C79A1FA85A}" dt="2023-08-11T18:19:30.119" v="0" actId="20577"/>
          <ac:spMkLst>
            <pc:docMk/>
            <pc:sldMk cId="55991849" sldId="2147471356"/>
            <ac:spMk id="10" creationId="{DA7577CE-09E6-EF80-F511-D3127A94DEE5}"/>
          </ac:spMkLst>
        </pc:spChg>
      </pc:sldChg>
      <pc:sldChg chg="del">
        <pc:chgData name="Stuart Lopez" userId="e8c0151a-f337-42b8-9c69-49b3be5c85a6" providerId="ADAL" clId="{034BFD96-F7AB-B848-88A8-57C79A1FA85A}" dt="2023-08-11T18:19:41.972" v="5" actId="2696"/>
        <pc:sldMkLst>
          <pc:docMk/>
          <pc:sldMk cId="2450180389" sldId="2147471357"/>
        </pc:sldMkLst>
      </pc:sldChg>
      <pc:sldChg chg="modSp mod">
        <pc:chgData name="Stuart Lopez" userId="e8c0151a-f337-42b8-9c69-49b3be5c85a6" providerId="ADAL" clId="{034BFD96-F7AB-B848-88A8-57C79A1FA85A}" dt="2023-08-11T18:20:12.565" v="40" actId="20577"/>
        <pc:sldMkLst>
          <pc:docMk/>
          <pc:sldMk cId="3825082798" sldId="2147471361"/>
        </pc:sldMkLst>
        <pc:spChg chg="mod">
          <ac:chgData name="Stuart Lopez" userId="e8c0151a-f337-42b8-9c69-49b3be5c85a6" providerId="ADAL" clId="{034BFD96-F7AB-B848-88A8-57C79A1FA85A}" dt="2023-08-11T18:19:35.210" v="1" actId="20577"/>
          <ac:spMkLst>
            <pc:docMk/>
            <pc:sldMk cId="3825082798" sldId="2147471361"/>
            <ac:spMk id="10" creationId="{DA7577CE-09E6-EF80-F511-D3127A94DEE5}"/>
          </ac:spMkLst>
        </pc:spChg>
        <pc:graphicFrameChg chg="mod modGraphic">
          <ac:chgData name="Stuart Lopez" userId="e8c0151a-f337-42b8-9c69-49b3be5c85a6" providerId="ADAL" clId="{034BFD96-F7AB-B848-88A8-57C79A1FA85A}" dt="2023-08-11T18:20:12.565" v="40" actId="20577"/>
          <ac:graphicFrameMkLst>
            <pc:docMk/>
            <pc:sldMk cId="3825082798" sldId="2147471361"/>
            <ac:graphicFrameMk id="22" creationId="{D3EA926C-ED4F-2A62-978C-C35A3C780DB8}"/>
          </ac:graphicFrameMkLst>
        </pc:graphicFrameChg>
      </pc:sldChg>
      <pc:sldChg chg="del">
        <pc:chgData name="Stuart Lopez" userId="e8c0151a-f337-42b8-9c69-49b3be5c85a6" providerId="ADAL" clId="{034BFD96-F7AB-B848-88A8-57C79A1FA85A}" dt="2023-08-11T18:19:42.005" v="7" actId="2696"/>
        <pc:sldMkLst>
          <pc:docMk/>
          <pc:sldMk cId="3495438159" sldId="2147471362"/>
        </pc:sldMkLst>
      </pc:sldChg>
      <pc:sldMasterChg chg="delSldLayout">
        <pc:chgData name="Stuart Lopez" userId="e8c0151a-f337-42b8-9c69-49b3be5c85a6" providerId="ADAL" clId="{034BFD96-F7AB-B848-88A8-57C79A1FA85A}" dt="2023-08-11T18:19:41.975" v="6" actId="2696"/>
        <pc:sldMasterMkLst>
          <pc:docMk/>
          <pc:sldMasterMk cId="3770192873" sldId="2147483699"/>
        </pc:sldMasterMkLst>
        <pc:sldLayoutChg chg="del">
          <pc:chgData name="Stuart Lopez" userId="e8c0151a-f337-42b8-9c69-49b3be5c85a6" providerId="ADAL" clId="{034BFD96-F7AB-B848-88A8-57C79A1FA85A}" dt="2023-08-11T18:19:41.975" v="6" actId="2696"/>
          <pc:sldLayoutMkLst>
            <pc:docMk/>
            <pc:sldMasterMk cId="3770192873" sldId="2147483699"/>
            <pc:sldLayoutMk cId="4262714837" sldId="214748371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11/2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 dirty="0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Confidential  |  Month 2023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/>
              <a:t>Confidential  |  Month 2023</a:t>
            </a:r>
            <a:endParaRPr lang="en-US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E8D576-0B23-EA64-9110-5BB5CD544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E8D576-0B23-EA64-9110-5BB5CD544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Table 22">
            <a:extLst>
              <a:ext uri="{FF2B5EF4-FFF2-40B4-BE49-F238E27FC236}">
                <a16:creationId xmlns:a16="http://schemas.microsoft.com/office/drawing/2014/main" id="{D3EA926C-ED4F-2A62-978C-C35A3C780DB8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533223405"/>
              </p:ext>
            </p:extLst>
          </p:nvPr>
        </p:nvGraphicFramePr>
        <p:xfrm>
          <a:off x="452438" y="1462088"/>
          <a:ext cx="3352800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39616588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PROJECT SCOPE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0429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  <a:lumOff val="50000"/>
                          </a:schemeClr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5"/>
                          </a:solidFill>
                        </a:rPr>
                        <a:t>Success Includ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  <a:lumOff val="50000"/>
                          </a:schemeClr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at are we being asked to do? What should we be asked to do? How can any gaps between “are being asked” and “should be asked” be reconciled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y does this work matter to each of us, our group, and our organization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How would we and other know we succeeded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at are the most critical themes and issues that emerge from discussing these questions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y do we care about this work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How might we capture this discussion in a meaningful statement of purpose and goals?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at kind of work will we need to do to achieve our purpose and goals?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75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5"/>
                          </a:solidFill>
                        </a:rPr>
                        <a:t>Success Does Not Includ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3866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363701"/>
                  </a:ext>
                </a:extLst>
              </a:tr>
            </a:tbl>
          </a:graphicData>
        </a:graphic>
      </p:graphicFrame>
      <p:graphicFrame>
        <p:nvGraphicFramePr>
          <p:cNvPr id="53" name="Table 53">
            <a:extLst>
              <a:ext uri="{FF2B5EF4-FFF2-40B4-BE49-F238E27FC236}">
                <a16:creationId xmlns:a16="http://schemas.microsoft.com/office/drawing/2014/main" id="{80F7829F-6D2E-8A4F-8294-434C0C582394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2326805"/>
              </p:ext>
            </p:extLst>
          </p:nvPr>
        </p:nvGraphicFramePr>
        <p:xfrm>
          <a:off x="4411663" y="1462088"/>
          <a:ext cx="3352800" cy="2423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2725791744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99168182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CORE TEAM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1347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Names, area of focus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at does each team member bring to the table, </a:t>
                      </a:r>
                      <a:r>
                        <a:rPr lang="en-US" sz="1200" dirty="0" err="1"/>
                        <a:t>eg.</a:t>
                      </a:r>
                      <a:r>
                        <a:rPr lang="en-US" sz="1200" dirty="0"/>
                        <a:t> Knowledge, experience,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204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117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890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11592"/>
                  </a:ext>
                </a:extLst>
              </a:tr>
            </a:tbl>
          </a:graphicData>
        </a:graphic>
      </p:graphicFrame>
      <p:graphicFrame>
        <p:nvGraphicFramePr>
          <p:cNvPr id="54" name="Table 54">
            <a:extLst>
              <a:ext uri="{FF2B5EF4-FFF2-40B4-BE49-F238E27FC236}">
                <a16:creationId xmlns:a16="http://schemas.microsoft.com/office/drawing/2014/main" id="{648636A4-64B5-4356-4877-B2901268FAA9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469141828"/>
              </p:ext>
            </p:extLst>
          </p:nvPr>
        </p:nvGraphicFramePr>
        <p:xfrm>
          <a:off x="8366125" y="1462088"/>
          <a:ext cx="3354388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4388">
                  <a:extLst>
                    <a:ext uri="{9D8B030D-6E8A-4147-A177-3AD203B41FA5}">
                      <a16:colId xmlns:a16="http://schemas.microsoft.com/office/drawing/2014/main" val="1821330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PURPOSE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8519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200" dirty="0"/>
                        <a:t>SMART Goals – Specific, Measurable, Aggressive yet Achievable, Relevant, Time-bound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45404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</a:rPr>
                        <a:t>HOW WILL THE TEAM WORK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4308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Characteristics of the work itself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Administration and logistics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Norms of behavior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Decision and choice making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Evaluation of progress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Use of technology </a:t>
                      </a:r>
                    </a:p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dirty="0"/>
                        <a:t>What does each team member bring to the table, </a:t>
                      </a:r>
                      <a:r>
                        <a:rPr lang="en-US" sz="1200" dirty="0" err="1"/>
                        <a:t>eg.</a:t>
                      </a:r>
                      <a:r>
                        <a:rPr lang="en-US" sz="1200" dirty="0"/>
                        <a:t> Knowledge, experience,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317961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97BBE64F-8343-8051-344D-2138929FE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4" y="325588"/>
            <a:ext cx="11261165" cy="536415"/>
          </a:xfrm>
        </p:spPr>
        <p:txBody>
          <a:bodyPr vert="horz"/>
          <a:lstStyle/>
          <a:p>
            <a:r>
              <a:rPr lang="en-US"/>
              <a:t>Char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7577CE-09E6-EF80-F511-D3127A94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024" y="656482"/>
            <a:ext cx="11274552" cy="469900"/>
          </a:xfrm>
        </p:spPr>
        <p:txBody>
          <a:bodyPr/>
          <a:lstStyle/>
          <a:p>
            <a:r>
              <a:rPr lang="en-US" dirty="0"/>
              <a:t>Project scope, core team, and purpose</a:t>
            </a:r>
          </a:p>
        </p:txBody>
      </p:sp>
    </p:spTree>
    <p:extLst>
      <p:ext uri="{BB962C8B-B14F-4D97-AF65-F5344CB8AC3E}">
        <p14:creationId xmlns:p14="http://schemas.microsoft.com/office/powerpoint/2010/main" val="55991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E8D576-0B23-EA64-9110-5BB5CD544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E8D576-0B23-EA64-9110-5BB5CD544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Table 22">
            <a:extLst>
              <a:ext uri="{FF2B5EF4-FFF2-40B4-BE49-F238E27FC236}">
                <a16:creationId xmlns:a16="http://schemas.microsoft.com/office/drawing/2014/main" id="{D3EA926C-ED4F-2A62-978C-C35A3C780DB8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542667001"/>
              </p:ext>
            </p:extLst>
          </p:nvPr>
        </p:nvGraphicFramePr>
        <p:xfrm>
          <a:off x="452438" y="1462088"/>
          <a:ext cx="33528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39616588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PROJECT SCOPE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0429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  <a:lumOff val="50000"/>
                          </a:schemeClr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5"/>
                          </a:solidFill>
                        </a:rPr>
                        <a:t>Success Includ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  <a:lumOff val="50000"/>
                          </a:schemeClr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75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5"/>
                          </a:solidFill>
                        </a:rPr>
                        <a:t>Success Does Not Includ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3866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363701"/>
                  </a:ext>
                </a:extLst>
              </a:tr>
            </a:tbl>
          </a:graphicData>
        </a:graphic>
      </p:graphicFrame>
      <p:graphicFrame>
        <p:nvGraphicFramePr>
          <p:cNvPr id="53" name="Table 53">
            <a:extLst>
              <a:ext uri="{FF2B5EF4-FFF2-40B4-BE49-F238E27FC236}">
                <a16:creationId xmlns:a16="http://schemas.microsoft.com/office/drawing/2014/main" id="{80F7829F-6D2E-8A4F-8294-434C0C582394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422154864"/>
              </p:ext>
            </p:extLst>
          </p:nvPr>
        </p:nvGraphicFramePr>
        <p:xfrm>
          <a:off x="4411663" y="1462088"/>
          <a:ext cx="3352800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2725791744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99168182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CORE TEAM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1347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204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117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8906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Role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First Last</a:t>
                      </a:r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11592"/>
                  </a:ext>
                </a:extLst>
              </a:tr>
            </a:tbl>
          </a:graphicData>
        </a:graphic>
      </p:graphicFrame>
      <p:graphicFrame>
        <p:nvGraphicFramePr>
          <p:cNvPr id="54" name="Table 54">
            <a:extLst>
              <a:ext uri="{FF2B5EF4-FFF2-40B4-BE49-F238E27FC236}">
                <a16:creationId xmlns:a16="http://schemas.microsoft.com/office/drawing/2014/main" id="{648636A4-64B5-4356-4877-B2901268FAA9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823631107"/>
              </p:ext>
            </p:extLst>
          </p:nvPr>
        </p:nvGraphicFramePr>
        <p:xfrm>
          <a:off x="8366125" y="1462088"/>
          <a:ext cx="3354388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4388">
                  <a:extLst>
                    <a:ext uri="{9D8B030D-6E8A-4147-A177-3AD203B41FA5}">
                      <a16:colId xmlns:a16="http://schemas.microsoft.com/office/drawing/2014/main" val="1821330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solidFill>
                            <a:schemeClr val="accent1"/>
                          </a:solidFill>
                        </a:rPr>
                        <a:t>PURPOSE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8519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45404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</a:rPr>
                        <a:t>HOW WILL THE TEAM WORK</a:t>
                      </a:r>
                    </a:p>
                  </a:txBody>
                  <a:tcPr marL="0" marR="68580" marT="0" marB="228600"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4308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lvl="0" indent="-2857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200" dirty="0"/>
                    </a:p>
                  </a:txBody>
                  <a:tcPr marL="0" marR="68580" marT="0" marB="22860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317961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97BBE64F-8343-8051-344D-2138929FE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4" y="325588"/>
            <a:ext cx="11261165" cy="536415"/>
          </a:xfrm>
        </p:spPr>
        <p:txBody>
          <a:bodyPr vert="horz"/>
          <a:lstStyle/>
          <a:p>
            <a:r>
              <a:rPr lang="en-US"/>
              <a:t>Char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7577CE-09E6-EF80-F511-D3127A94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2024" y="656482"/>
            <a:ext cx="11274552" cy="469900"/>
          </a:xfrm>
        </p:spPr>
        <p:txBody>
          <a:bodyPr/>
          <a:lstStyle/>
          <a:p>
            <a:r>
              <a:rPr lang="en-US" dirty="0"/>
              <a:t>Project scope, core team, and purpose</a:t>
            </a:r>
          </a:p>
        </p:txBody>
      </p:sp>
    </p:spTree>
    <p:extLst>
      <p:ext uri="{BB962C8B-B14F-4D97-AF65-F5344CB8AC3E}">
        <p14:creationId xmlns:p14="http://schemas.microsoft.com/office/powerpoint/2010/main" val="3825082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Props1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C88917-28A9-4BA0-AD8D-30698C1C01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c535c6-63a4-4339-b449-26eeb0d3d3cb"/>
    <ds:schemaRef ds:uri="ce1d24c5-b878-439b-8570-a7c8ba6bb6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F2F879D-8863-4808-8589-430CC253668D}">
  <ds:schemaRefs>
    <ds:schemaRef ds:uri="ce1d24c5-b878-439b-8570-a7c8ba6bb6e0"/>
    <ds:schemaRef ds:uri="http://purl.org/dc/terms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d8c535c6-63a4-4339-b449-26eeb0d3d3cb"/>
    <ds:schemaRef ds:uri="http://www.w3.org/XML/1998/namespace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5</TotalTime>
  <Words>257</Words>
  <Application>Microsoft Macintosh PowerPoint</Application>
  <PresentationFormat>Widescreen</PresentationFormat>
  <Paragraphs>4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andara</vt:lpstr>
      <vt:lpstr>Franklin Gothic Heavy</vt:lpstr>
      <vt:lpstr>Gill Sans</vt:lpstr>
      <vt:lpstr>Tahoma</vt:lpstr>
      <vt:lpstr>Wingdings</vt:lpstr>
      <vt:lpstr>Main Theme_Confidential</vt:lpstr>
      <vt:lpstr>think-cell Slide</vt:lpstr>
      <vt:lpstr>Charter</vt:lpstr>
      <vt:lpstr>Char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Stuart Lopez</cp:lastModifiedBy>
  <cp:revision>51</cp:revision>
  <cp:lastPrinted>2022-12-22T18:37:53Z</cp:lastPrinted>
  <dcterms:created xsi:type="dcterms:W3CDTF">2022-10-11T20:38:03Z</dcterms:created>
  <dcterms:modified xsi:type="dcterms:W3CDTF">2023-11-29T16:5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